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  <p:sldMasterId id="2147483676" r:id="rId4"/>
    <p:sldMasterId id="2147483690" r:id="rId5"/>
  </p:sldMasterIdLst>
  <p:notesMasterIdLst>
    <p:notesMasterId r:id="rId7"/>
  </p:notesMasterIdLst>
  <p:handoutMasterIdLst>
    <p:handoutMasterId r:id="rId13"/>
  </p:handoutMasterIdLst>
  <p:sldIdLst>
    <p:sldId id="370" r:id="rId6"/>
    <p:sldId id="389" r:id="rId8"/>
    <p:sldId id="447" r:id="rId9"/>
    <p:sldId id="308" r:id="rId10"/>
    <p:sldId id="446" r:id="rId11"/>
    <p:sldId id="282" r:id="rId12"/>
  </p:sldIdLst>
  <p:sldSz cx="9144000" cy="6858000" type="screen4x3"/>
  <p:notesSz cx="6858000" cy="9144000"/>
  <p:custDataLst>
    <p:tags r:id="rId17"/>
  </p:custDataLst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BC4FC"/>
    <a:srgbClr val="4A7DFF"/>
    <a:srgbClr val="003039"/>
    <a:srgbClr val="F9F9F9"/>
    <a:srgbClr val="B8CCE4"/>
    <a:srgbClr val="F2F2F2"/>
    <a:srgbClr val="5B9BD5"/>
    <a:srgbClr val="ADCDF4"/>
    <a:srgbClr val="1552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414" autoAdjust="0"/>
  </p:normalViewPr>
  <p:slideViewPr>
    <p:cSldViewPr showGuides="1">
      <p:cViewPr>
        <p:scale>
          <a:sx n="100" d="100"/>
          <a:sy n="100" d="100"/>
        </p:scale>
        <p:origin x="-294" y="-114"/>
      </p:cViewPr>
      <p:guideLst>
        <p:guide orient="horz" pos="2208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gs" Target="tags/tag6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 flipV="1">
            <a:off x="6515735" y="4633595"/>
            <a:ext cx="1306830" cy="222440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V="1">
            <a:off x="7968615" y="3861435"/>
            <a:ext cx="1067435" cy="191833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 userDrawn="1"/>
        </p:nvCxnSpPr>
        <p:spPr>
          <a:xfrm flipV="1">
            <a:off x="0" y="1055370"/>
            <a:ext cx="1180465" cy="20135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1186948" y="1"/>
            <a:ext cx="1493996" cy="2539377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V="1">
            <a:off x="8100060" y="5301615"/>
            <a:ext cx="935990" cy="15563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V="1">
            <a:off x="0" y="260985"/>
            <a:ext cx="683260" cy="119888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6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7" Type="http://schemas.openxmlformats.org/officeDocument/2006/relationships/theme" Target="../theme/theme4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2052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3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3076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7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4100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101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5124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5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1" name="图片 7" descr="海阔天空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25" y="565150"/>
            <a:ext cx="9099550" cy="6242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2" name="TextBox 5"/>
          <p:cNvSpPr/>
          <p:nvPr userDrawn="1"/>
        </p:nvSpPr>
        <p:spPr>
          <a:xfrm>
            <a:off x="6631464" y="274638"/>
            <a:ext cx="2480310" cy="30670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  <a:scene3d>
              <a:camera prst="orthographicFront"/>
              <a:lightRig rig="threePt" dir="t"/>
            </a:scene3d>
          </a:bodyPr>
          <a:lstStyle/>
          <a:p>
            <a:pPr lvl="0" indent="0" algn="ctr"/>
            <a:r>
              <a:rPr lang="zh-CN" altLang="en-US" sz="1400" b="1" dirty="0"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诚信赢得天下   科技成就未来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1033" name="图片 1" descr="荣昌标副本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22225"/>
            <a:ext cx="3284538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4" name="图片 3" descr="横条.jpg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flipV="1">
            <a:off x="0" y="546100"/>
            <a:ext cx="9140825" cy="76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灯片编号占位符 5"/>
          <p:cNvSpPr>
            <a:spLocks noGrp="1"/>
          </p:cNvSpPr>
          <p:nvPr userDrawn="1"/>
        </p:nvSpPr>
        <p:spPr>
          <a:xfrm>
            <a:off x="6680200" y="6372225"/>
            <a:ext cx="21336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marL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lvl="5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lvl="6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lvl="7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lvl="8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fontAlgn="base"/>
            <a:fld id="{9A0DB2DC-4C9A-4742-B13C-FB6460FD3503}" type="slidenum">
              <a:rPr lang="zh-CN" alt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altLang="zh-CN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/23</a:t>
            </a:r>
            <a:endParaRPr lang="en-US" altLang="zh-CN" strike="noStrike" noProof="1"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28.xml"/><Relationship Id="rId2" Type="http://schemas.openxmlformats.org/officeDocument/2006/relationships/image" Target="../media/image7.png"/><Relationship Id="rId1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横卷形 3"/>
          <p:cNvSpPr/>
          <p:nvPr/>
        </p:nvSpPr>
        <p:spPr>
          <a:xfrm>
            <a:off x="635" y="2282825"/>
            <a:ext cx="9143365" cy="2087880"/>
          </a:xfrm>
          <a:prstGeom prst="horizontalScrol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TPE(</a:t>
            </a:r>
            <a:r>
              <a:rPr lang="zh-CN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黑</a:t>
            </a:r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)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原料验证报告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  <a:sym typeface="+mn-ea"/>
            </a:endParaRPr>
          </a:p>
          <a:p>
            <a:pPr algn="ctr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</a:rPr>
              <a:t>临沂方中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2025/8/1</a:t>
            </a:r>
            <a:endParaRPr lang="en-US" altLang="zh-CN" sz="32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方正兰亭粗黑_GBK"/>
              <a:cs typeface="+mn-ea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58"/>
          <p:cNvSpPr txBox="1"/>
          <p:nvPr/>
        </p:nvSpPr>
        <p:spPr>
          <a:xfrm>
            <a:off x="3923665" y="764540"/>
            <a:ext cx="151701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 sz="44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</a:rPr>
              <a:t>目录</a:t>
            </a:r>
            <a:endParaRPr lang="zh-CN" altLang="zh-CN" sz="44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</a:endParaRPr>
          </a:p>
        </p:txBody>
      </p:sp>
      <p:sp>
        <p:nvSpPr>
          <p:cNvPr id="2" name="棱台 1"/>
          <p:cNvSpPr/>
          <p:nvPr/>
        </p:nvSpPr>
        <p:spPr>
          <a:xfrm>
            <a:off x="2776855" y="2644775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lnSpc>
                <a:spcPts val="3000"/>
              </a:lnSpc>
            </a:pP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一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外观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3" name="棱台 2"/>
          <p:cNvSpPr/>
          <p:nvPr/>
        </p:nvSpPr>
        <p:spPr>
          <a:xfrm>
            <a:off x="2772410" y="362839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硬度检测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4" name="棱台 3"/>
          <p:cNvSpPr/>
          <p:nvPr/>
        </p:nvSpPr>
        <p:spPr>
          <a:xfrm>
            <a:off x="2755900" y="461645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装配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外观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一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900" dirty="0">
                <a:solidFill>
                  <a:schemeClr val="tx1"/>
                </a:solidFill>
                <a:sym typeface="+mn-ea"/>
              </a:rPr>
              <a:t>TPE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原料生产</a:t>
            </a:r>
            <a:r>
              <a:rPr lang="en-US" sz="1900" dirty="0">
                <a:solidFill>
                  <a:schemeClr val="tx1"/>
                </a:solidFill>
                <a:sym typeface="+mn-ea"/>
              </a:rPr>
              <a:t>B41V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左右镜座胶垫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表面平整，无明细缩水龟裂问题目视无明细色差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43305" y="2564765"/>
            <a:ext cx="7385685" cy="25241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硬度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二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1900" dirty="0">
                <a:solidFill>
                  <a:schemeClr val="tx1"/>
                </a:solidFill>
                <a:sym typeface="+mn-ea"/>
              </a:rPr>
              <a:t>邵氏硬度标准：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60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±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10</a:t>
            </a:r>
            <a:endParaRPr lang="en-US" altLang="zh-CN" sz="1900" dirty="0">
              <a:solidFill>
                <a:schemeClr val="tx1"/>
              </a:solidFill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实际检测：</a:t>
            </a: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58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，符合要求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55240" y="2493010"/>
            <a:ext cx="2787650" cy="37172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8" name="组合 47"/>
          <p:cNvGrpSpPr/>
          <p:nvPr/>
        </p:nvGrpSpPr>
        <p:grpSpPr>
          <a:xfrm>
            <a:off x="179070" y="682625"/>
            <a:ext cx="764540" cy="607695"/>
            <a:chOff x="845947" y="2542722"/>
            <a:chExt cx="1727884" cy="1360493"/>
          </a:xfrm>
        </p:grpSpPr>
        <p:grpSp>
          <p:nvGrpSpPr>
            <p:cNvPr id="49" name="组合 48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0" name="同心圆 49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chemeClr val="tx1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三</a:t>
              </a:r>
              <a:endParaRPr lang="zh-CN" altLang="en-US" sz="2000" b="1" dirty="0" smtClean="0">
                <a:solidFill>
                  <a:schemeClr val="tx1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14" name="圆角矩形 13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装配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sp>
        <p:nvSpPr>
          <p:cNvPr id="16" name="TextBox 42"/>
          <p:cNvSpPr txBox="1"/>
          <p:nvPr/>
        </p:nvSpPr>
        <p:spPr>
          <a:xfrm>
            <a:off x="328295" y="1557020"/>
            <a:ext cx="860806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900" dirty="0" smtClean="0">
                <a:solidFill>
                  <a:schemeClr val="tx1"/>
                </a:solidFill>
                <a:uFillTx/>
                <a:sym typeface="+mn-ea"/>
              </a:rPr>
              <a:t>1.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胶垫装配检具后产品间隙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，与现有胶垫互换无偏差，间隙合格，符合要求。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9750" y="5300980"/>
            <a:ext cx="7306310" cy="383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900" b="1" dirty="0" smtClean="0"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结论：</a:t>
            </a:r>
            <a:r>
              <a:rPr lang="zh-CN" altLang="en-US" sz="1900" b="1" dirty="0" smtClean="0">
                <a:solidFill>
                  <a:srgbClr val="00B050"/>
                </a:solidFill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符合要求。</a:t>
            </a:r>
            <a:endParaRPr lang="zh-CN" altLang="en-US" sz="1900" b="1" dirty="0" smtClean="0">
              <a:solidFill>
                <a:srgbClr val="00B050"/>
              </a:solidFill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pic>
        <p:nvPicPr>
          <p:cNvPr id="3" name="图片 2" descr="3b74644a4e6446161fd370b10393a3b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59205" y="2093595"/>
            <a:ext cx="2405380" cy="320738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0155" y="2093595"/>
            <a:ext cx="2425700" cy="323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形 10" descr="讲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4795494" y="4887131"/>
            <a:ext cx="420314" cy="560419"/>
          </a:xfrm>
          <a:prstGeom prst="rect">
            <a:avLst/>
          </a:prstGeom>
        </p:spPr>
      </p:pic>
      <p:pic>
        <p:nvPicPr>
          <p:cNvPr id="12" name="图形 11" descr="教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2662938" y="5027256"/>
            <a:ext cx="420314" cy="560419"/>
          </a:xfrm>
          <a:prstGeom prst="rect">
            <a:avLst/>
          </a:prstGeom>
        </p:spPr>
      </p:pic>
      <p:sp>
        <p:nvSpPr>
          <p:cNvPr id="29" name="文本框 58"/>
          <p:cNvSpPr txBox="1">
            <a:spLocks noChangeArrowheads="1"/>
          </p:cNvSpPr>
          <p:nvPr/>
        </p:nvSpPr>
        <p:spPr>
          <a:xfrm>
            <a:off x="1622280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T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0" name="文本框 58"/>
          <p:cNvSpPr txBox="1">
            <a:spLocks noChangeArrowheads="1"/>
          </p:cNvSpPr>
          <p:nvPr/>
        </p:nvSpPr>
        <p:spPr>
          <a:xfrm>
            <a:off x="2445147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  <a:latin typeface="思源黑体 CN Normal"/>
                <a:ea typeface="微软雅黑" panose="020B0503020204020204" charset="-122"/>
              </a:rPr>
              <a:t>H</a:t>
            </a:r>
            <a:endParaRPr lang="en-US" altLang="zh-CN" sz="166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1" name="文本框 58"/>
          <p:cNvSpPr txBox="1">
            <a:spLocks noChangeArrowheads="1"/>
          </p:cNvSpPr>
          <p:nvPr/>
        </p:nvSpPr>
        <p:spPr>
          <a:xfrm>
            <a:off x="32680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A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2" name="文本框 58"/>
          <p:cNvSpPr txBox="1">
            <a:spLocks noChangeArrowheads="1"/>
          </p:cNvSpPr>
          <p:nvPr/>
        </p:nvSpPr>
        <p:spPr>
          <a:xfrm>
            <a:off x="4090881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N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4" name="文本框 58"/>
          <p:cNvSpPr txBox="1">
            <a:spLocks noChangeArrowheads="1"/>
          </p:cNvSpPr>
          <p:nvPr/>
        </p:nvSpPr>
        <p:spPr>
          <a:xfrm>
            <a:off x="4913748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K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5" name="文本框 58"/>
          <p:cNvSpPr txBox="1">
            <a:spLocks noChangeArrowheads="1"/>
          </p:cNvSpPr>
          <p:nvPr/>
        </p:nvSpPr>
        <p:spPr>
          <a:xfrm>
            <a:off x="57366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S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2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dvAuto="0"/>
      <p:bldP spid="30" grpId="1" advAuto="0"/>
      <p:bldP spid="31" grpId="2" advAuto="0"/>
      <p:bldP spid="32" grpId="3" advAuto="0"/>
      <p:bldP spid="34" grpId="4" advAuto="0"/>
      <p:bldP spid="35" grpId="5" advAuto="0"/>
    </p:bldLst>
  </p:timing>
</p:sld>
</file>

<file path=ppt/tags/tag1.xml><?xml version="1.0" encoding="utf-8"?>
<p:tagLst xmlns:p="http://schemas.openxmlformats.org/presentationml/2006/main">
  <p:tag name="THINKCELLSHAPEDONOTDELETE" val="p1mrGOHOxF022ZIg2oT2dDg"/>
</p:tagLst>
</file>

<file path=ppt/tags/tag2.xml><?xml version="1.0" encoding="utf-8"?>
<p:tagLst xmlns:p="http://schemas.openxmlformats.org/presentationml/2006/main">
  <p:tag name="THINKCELLSHAPEDONOTDELETE" val="p1mrGOHOxF022ZIg2oT2dDg"/>
</p:tagLst>
</file>

<file path=ppt/tags/tag3.xml><?xml version="1.0" encoding="utf-8"?>
<p:tagLst xmlns:p="http://schemas.openxmlformats.org/presentationml/2006/main">
  <p:tag name="THINKCELLSHAPEDONOTDELETE" val="p1mrGOHOxF022ZIg2oT2dDg"/>
</p:tagLst>
</file>

<file path=ppt/tags/tag4.xml><?xml version="1.0" encoding="utf-8"?>
<p:tagLst xmlns:p="http://schemas.openxmlformats.org/presentationml/2006/main">
  <p:tag name="THINKCELLSHAPEDONOTDELETE" val="p1mrGOHOxF022ZIg2oT2dDg"/>
</p:tagLst>
</file>

<file path=ppt/tags/tag5.xml><?xml version="1.0" encoding="utf-8"?>
<p:tagLst xmlns:p="http://schemas.openxmlformats.org/presentationml/2006/main">
  <p:tag name="KSO_WM_SLIDE_MODEL_TYPE" val="cover"/>
</p:tagLst>
</file>

<file path=ppt/tags/tag6.xml><?xml version="1.0" encoding="utf-8"?>
<p:tagLst xmlns:p="http://schemas.openxmlformats.org/presentationml/2006/main">
  <p:tag name="KSO_WPP_MARK_KEY" val="2361d046-c5dd-4572-900b-a40c78335c69"/>
  <p:tag name="COMMONDATA" val="eyJoZGlkIjoiNWI4MmE5MjcyMmVlODNiMDhlODIzZDg5NWFmNWM3MTkifQ=="/>
</p:tagLst>
</file>

<file path=ppt/theme/theme1.xml><?xml version="1.0" encoding="utf-8"?>
<a:theme xmlns:a="http://schemas.openxmlformats.org/drawingml/2006/main" name="3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8</Words>
  <Application>WPS 演示</Application>
  <PresentationFormat>全屏显示(4:3)</PresentationFormat>
  <Paragraphs>49</Paragraphs>
  <Slides>6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6</vt:i4>
      </vt:variant>
    </vt:vector>
  </HeadingPairs>
  <TitlesOfParts>
    <vt:vector size="23" baseType="lpstr">
      <vt:lpstr>Arial</vt:lpstr>
      <vt:lpstr>宋体</vt:lpstr>
      <vt:lpstr>Wingdings</vt:lpstr>
      <vt:lpstr>微软雅黑</vt:lpstr>
      <vt:lpstr>Verdana</vt:lpstr>
      <vt:lpstr>Calibri</vt:lpstr>
      <vt:lpstr>方正兰亭粗黑_GBK</vt:lpstr>
      <vt:lpstr>黑体</vt:lpstr>
      <vt:lpstr>Times New Roman</vt:lpstr>
      <vt:lpstr>Arial Narrow</vt:lpstr>
      <vt:lpstr>造字工房劲黑（非商用）常规体</vt:lpstr>
      <vt:lpstr>思源黑体 CN Normal</vt:lpstr>
      <vt:lpstr>Arial Unicode MS</vt:lpstr>
      <vt:lpstr>3_Profile</vt:lpstr>
      <vt:lpstr>2_Profile</vt:lpstr>
      <vt:lpstr>1_Profile</vt:lpstr>
      <vt:lpstr>Profil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时光倒流</cp:lastModifiedBy>
  <cp:revision>398</cp:revision>
  <dcterms:created xsi:type="dcterms:W3CDTF">2018-12-11T07:25:00Z</dcterms:created>
  <dcterms:modified xsi:type="dcterms:W3CDTF">2025-08-01T08:4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2215</vt:lpwstr>
  </property>
  <property fmtid="{D5CDD505-2E9C-101B-9397-08002B2CF9AE}" pid="3" name="KSORubyTemplateID">
    <vt:lpwstr>2</vt:lpwstr>
  </property>
  <property fmtid="{D5CDD505-2E9C-101B-9397-08002B2CF9AE}" pid="4" name="ICV">
    <vt:lpwstr>50C3CEB55370478792C42E3C877EB2D8_12</vt:lpwstr>
  </property>
</Properties>
</file>